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752" r:id="rId1"/>
    <p:sldMasterId id="2147483761" r:id="rId2"/>
    <p:sldMasterId id="2147483856" r:id="rId3"/>
    <p:sldMasterId id="2147483769" r:id="rId4"/>
    <p:sldMasterId id="2147483777" r:id="rId5"/>
    <p:sldMasterId id="2147483785" r:id="rId6"/>
    <p:sldMasterId id="2147483793" r:id="rId7"/>
  </p:sldMasterIdLst>
  <p:notesMasterIdLst>
    <p:notesMasterId r:id="rId28"/>
  </p:notesMasterIdLst>
  <p:handoutMasterIdLst>
    <p:handoutMasterId r:id="rId29"/>
  </p:handoutMasterIdLst>
  <p:sldIdLst>
    <p:sldId id="514" r:id="rId8"/>
    <p:sldId id="620" r:id="rId9"/>
    <p:sldId id="592" r:id="rId10"/>
    <p:sldId id="618" r:id="rId11"/>
    <p:sldId id="617" r:id="rId12"/>
    <p:sldId id="593" r:id="rId13"/>
    <p:sldId id="601" r:id="rId14"/>
    <p:sldId id="626" r:id="rId15"/>
    <p:sldId id="630" r:id="rId16"/>
    <p:sldId id="624" r:id="rId17"/>
    <p:sldId id="631" r:id="rId18"/>
    <p:sldId id="632" r:id="rId19"/>
    <p:sldId id="607" r:id="rId20"/>
    <p:sldId id="623" r:id="rId21"/>
    <p:sldId id="619" r:id="rId22"/>
    <p:sldId id="627" r:id="rId23"/>
    <p:sldId id="621" r:id="rId24"/>
    <p:sldId id="622" r:id="rId25"/>
    <p:sldId id="633" r:id="rId26"/>
    <p:sldId id="629" r:id="rId27"/>
  </p:sldIdLst>
  <p:sldSz cx="9601200" cy="6858000"/>
  <p:notesSz cx="7102475" cy="9388475"/>
  <p:custDataLst>
    <p:tags r:id="rId30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763C5B76-E131-473F-98F1-2C95BD5FD7CC}">
          <p14:sldIdLst>
            <p14:sldId id="514"/>
            <p14:sldId id="620"/>
            <p14:sldId id="592"/>
            <p14:sldId id="618"/>
            <p14:sldId id="617"/>
            <p14:sldId id="593"/>
            <p14:sldId id="601"/>
            <p14:sldId id="626"/>
            <p14:sldId id="630"/>
            <p14:sldId id="624"/>
            <p14:sldId id="631"/>
            <p14:sldId id="632"/>
            <p14:sldId id="607"/>
            <p14:sldId id="623"/>
            <p14:sldId id="619"/>
            <p14:sldId id="627"/>
            <p14:sldId id="621"/>
            <p14:sldId id="622"/>
            <p14:sldId id="633"/>
            <p14:sldId id="6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71">
          <p15:clr>
            <a:srgbClr val="A4A3A4"/>
          </p15:clr>
        </p15:guide>
        <p15:guide id="2" pos="445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0000"/>
    <a:srgbClr val="00FF00"/>
    <a:srgbClr val="FF66CC"/>
    <a:srgbClr val="99CCFF"/>
    <a:srgbClr val="C0C0C0"/>
    <a:srgbClr val="FFFF66"/>
    <a:srgbClr val="DFE5EF"/>
    <a:srgbClr val="C3CFE1"/>
    <a:srgbClr val="9DB1CF"/>
    <a:srgbClr val="6F8D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57" autoAdjust="0"/>
    <p:restoredTop sz="45646" autoAdjust="0"/>
  </p:normalViewPr>
  <p:slideViewPr>
    <p:cSldViewPr showGuides="1">
      <p:cViewPr varScale="1">
        <p:scale>
          <a:sx n="48" d="100"/>
          <a:sy n="48" d="100"/>
        </p:scale>
        <p:origin x="3480" y="184"/>
      </p:cViewPr>
      <p:guideLst>
        <p:guide orient="horz" pos="2571"/>
        <p:guide pos="44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46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tags" Target="tags/tag1.xml"/><Relationship Id="rId8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2"/>
            <a:ext cx="3078381" cy="469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39" tIns="46369" rIns="92739" bIns="46369" numCol="1" anchor="t" anchorCtr="0" compatLnSpc="1">
            <a:prstTxWarp prst="textNoShape">
              <a:avLst/>
            </a:prstTxWarp>
          </a:bodyPr>
          <a:lstStyle>
            <a:lvl1pPr algn="l" defTabSz="928204">
              <a:defRPr sz="1200" b="1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4094" y="2"/>
            <a:ext cx="3078381" cy="469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39" tIns="46369" rIns="92739" bIns="46369" numCol="1" anchor="t" anchorCtr="0" compatLnSpc="1">
            <a:prstTxWarp prst="textNoShape">
              <a:avLst/>
            </a:prstTxWarp>
          </a:bodyPr>
          <a:lstStyle>
            <a:lvl1pPr algn="r" defTabSz="928204">
              <a:defRPr sz="1200" b="1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8918736"/>
            <a:ext cx="3078381" cy="46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39" tIns="46369" rIns="92739" bIns="46369" numCol="1" anchor="b" anchorCtr="0" compatLnSpc="1">
            <a:prstTxWarp prst="textNoShape">
              <a:avLst/>
            </a:prstTxWarp>
          </a:bodyPr>
          <a:lstStyle>
            <a:lvl1pPr algn="l" defTabSz="928204">
              <a:defRPr sz="1200" b="1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094" y="8918736"/>
            <a:ext cx="3078381" cy="46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39" tIns="46369" rIns="92739" bIns="46369" numCol="1" anchor="b" anchorCtr="0" compatLnSpc="1">
            <a:prstTxWarp prst="textNoShape">
              <a:avLst/>
            </a:prstTxWarp>
          </a:bodyPr>
          <a:lstStyle>
            <a:lvl1pPr algn="r" defTabSz="928204">
              <a:defRPr sz="1200" b="1" smtClean="0"/>
            </a:lvl1pPr>
          </a:lstStyle>
          <a:p>
            <a:pPr>
              <a:defRPr/>
            </a:pPr>
            <a:fld id="{D98C261A-6945-4393-9E44-A48AD1D9B6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1221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99291" cy="461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24" tIns="45613" rIns="91224" bIns="45613" numCol="1" anchor="t" anchorCtr="0" compatLnSpc="1">
            <a:prstTxWarp prst="textNoShape">
              <a:avLst/>
            </a:prstTxWarp>
          </a:bodyPr>
          <a:lstStyle>
            <a:lvl1pPr algn="l" defTabSz="912033">
              <a:defRPr sz="1200" b="1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8922" y="1"/>
            <a:ext cx="3099290" cy="461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24" tIns="45613" rIns="91224" bIns="45613" numCol="1" anchor="t" anchorCtr="0" compatLnSpc="1">
            <a:prstTxWarp prst="textNoShape">
              <a:avLst/>
            </a:prstTxWarp>
          </a:bodyPr>
          <a:lstStyle>
            <a:lvl1pPr algn="r" defTabSz="912033">
              <a:defRPr sz="1200" b="1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46163" y="693738"/>
            <a:ext cx="4965700" cy="35464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1237" y="4469788"/>
            <a:ext cx="5190146" cy="4238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24" tIns="45613" rIns="91224" bIns="456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937972"/>
            <a:ext cx="3099291" cy="463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24" tIns="45613" rIns="91224" bIns="45613" numCol="1" anchor="b" anchorCtr="0" compatLnSpc="1">
            <a:prstTxWarp prst="textNoShape">
              <a:avLst/>
            </a:prstTxWarp>
          </a:bodyPr>
          <a:lstStyle>
            <a:lvl1pPr algn="l" defTabSz="912033">
              <a:defRPr sz="1200" b="1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8922" y="8937972"/>
            <a:ext cx="3099290" cy="463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24" tIns="45613" rIns="91224" bIns="45613" numCol="1" anchor="b" anchorCtr="0" compatLnSpc="1">
            <a:prstTxWarp prst="textNoShape">
              <a:avLst/>
            </a:prstTxWarp>
          </a:bodyPr>
          <a:lstStyle>
            <a:lvl1pPr algn="r" defTabSz="912033">
              <a:defRPr sz="1200" b="1" smtClean="0"/>
            </a:lvl1pPr>
          </a:lstStyle>
          <a:p>
            <a:pPr>
              <a:defRPr/>
            </a:pPr>
            <a:fld id="{390024AA-86A5-48F1-BF1F-928E78E272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0247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944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76262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0703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1385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5921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9683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9325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7746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987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539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989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9463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3745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5562" indent="-294447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77788" indent="-23555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48903" indent="-23555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20017" indent="-23555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91134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62249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33364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4478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8F4CB6A-89CA-4518-BA43-5B62BEAD2B29}" type="slidenum">
              <a:rPr lang="en-US" smtClean="0"/>
              <a:pPr eaLnBrk="1" hangingPunct="1"/>
              <a:t>2</a:t>
            </a:fld>
            <a:endParaRPr lang="en-US" dirty="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5562" indent="-294447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77788" indent="-23555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48903" indent="-23555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20017" indent="-23555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91134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62249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33364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4478" indent="-23555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8F4CB6A-89CA-4518-BA43-5B62BEAD2B29}" type="slidenum">
              <a:rPr lang="en-US" smtClean="0"/>
              <a:pPr eaLnBrk="1" hangingPunct="1"/>
              <a:t>3</a:t>
            </a:fld>
            <a:endParaRPr lang="en-US" dirty="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474391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5315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6836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24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b="1" dirty="0"/>
              <a:t>)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364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2119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049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5.jpe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2090641" y="2284511"/>
            <a:ext cx="44702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E</a:t>
            </a:r>
            <a:r>
              <a:rPr lang="en-US" baseline="0" dirty="0">
                <a:solidFill>
                  <a:srgbClr val="FFFFFF"/>
                </a:solidFill>
                <a:latin typeface="Calibri" pitchFamily="34" charset="0"/>
              </a:rPr>
              <a:t> S H E L M A N    S C H O O L    O F    P H A R M A C Y </a:t>
            </a:r>
            <a:endParaRPr lang="en-U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5181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609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81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81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490870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04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AutoShape 2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8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  <p:custDataLst>
              <p:tags r:id="rId8"/>
            </p:custDataLst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  <p:custDataLst>
              <p:tags r:id="rId9"/>
            </p:custDataLst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pic>
        <p:nvPicPr>
          <p:cNvPr id="18" name="Picture 17" descr="UNC P&amp;A logo 2.JP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4992625" y="2430470"/>
            <a:ext cx="4197096" cy="216027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32785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5181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609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81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81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0788" y="2506663"/>
            <a:ext cx="4176191" cy="128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12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AutoShape 2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2" descr="C:\Documents and Settings\wmcswain\Desktop\Walker McSwain\UNCH Logo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3" cstate="print"/>
          <a:srcRect l="5990" t="11111" r="5830" b="14286"/>
          <a:stretch>
            <a:fillRect/>
          </a:stretch>
        </p:blipFill>
        <p:spPr bwMode="auto">
          <a:xfrm>
            <a:off x="4762195" y="2238445"/>
            <a:ext cx="4378145" cy="1700602"/>
          </a:xfrm>
          <a:prstGeom prst="rect">
            <a:avLst/>
          </a:prstGeom>
          <a:noFill/>
        </p:spPr>
      </p:pic>
      <p:sp>
        <p:nvSpPr>
          <p:cNvPr id="7" name="Text Box 184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  <p:custDataLst>
              <p:tags r:id="rId5"/>
            </p:custDataLst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3" name="Rectangle 12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>
            <p:custDataLst>
              <p:tags r:id="rId7"/>
            </p:custDataLst>
          </p:nvPr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  <p:custDataLst>
              <p:tags r:id="rId10"/>
            </p:custDataLst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490870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5181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609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81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81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pic>
        <p:nvPicPr>
          <p:cNvPr id="10" name="Picture 9" descr="Rex log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46269" y="2706707"/>
            <a:ext cx="3248451" cy="13751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32785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5181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609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81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81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pic>
        <p:nvPicPr>
          <p:cNvPr id="11" name="Picture 4" descr="C:\Documents and Settings\wmcswain\Desktop\Walker McSwain\Chatham logo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 l="7178" r="10271"/>
          <a:stretch>
            <a:fillRect/>
          </a:stretch>
        </p:blipFill>
        <p:spPr bwMode="auto">
          <a:xfrm>
            <a:off x="4964146" y="2276850"/>
            <a:ext cx="4483459" cy="142098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32785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32785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5181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609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81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81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42706" y="2506663"/>
            <a:ext cx="3559989" cy="2102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32785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5181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609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81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81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5181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609600" y="2053557"/>
            <a:ext cx="3962400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181600" y="2077619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181600" y="1371600"/>
            <a:ext cx="3962400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490870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Text Box 306"/>
          <p:cNvSpPr txBox="1">
            <a:spLocks noChangeArrowheads="1"/>
          </p:cNvSpPr>
          <p:nvPr userDrawn="1"/>
        </p:nvSpPr>
        <p:spPr bwMode="auto">
          <a:xfrm rot="5400000">
            <a:off x="-2090641" y="2284511"/>
            <a:ext cx="44702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E</a:t>
            </a:r>
            <a:r>
              <a:rPr lang="en-US" baseline="0" dirty="0">
                <a:solidFill>
                  <a:srgbClr val="FFFFFF"/>
                </a:solidFill>
                <a:latin typeface="Calibri" pitchFamily="34" charset="0"/>
              </a:rPr>
              <a:t> S H E L M A N    S C H O O L    O F    P H A R M A C Y </a:t>
            </a:r>
            <a:endParaRPr lang="en-US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296864" y="3079750"/>
            <a:ext cx="9304336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490870" y="3079750"/>
            <a:ext cx="7335630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Text Box 306"/>
          <p:cNvSpPr txBox="1">
            <a:spLocks noChangeArrowheads="1"/>
          </p:cNvSpPr>
          <p:nvPr userDrawn="1"/>
        </p:nvSpPr>
        <p:spPr bwMode="auto">
          <a:xfrm rot="5400000">
            <a:off x="-2090641" y="2284511"/>
            <a:ext cx="44702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E</a:t>
            </a:r>
            <a:r>
              <a:rPr lang="en-US" baseline="0" dirty="0">
                <a:solidFill>
                  <a:srgbClr val="FFFFFF"/>
                </a:solidFill>
                <a:latin typeface="Calibri" pitchFamily="34" charset="0"/>
              </a:rPr>
              <a:t> S H E L M A N    S C H O O L    O F    P H A R M A C Y </a:t>
            </a:r>
            <a:endParaRPr lang="en-US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70075" y="2395537"/>
            <a:ext cx="40290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720725" y="2229815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1030" y="2507281"/>
            <a:ext cx="4197096" cy="1286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5" y="4876800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720725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11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8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7.xml"/><Relationship Id="rId10" Type="http://schemas.openxmlformats.org/officeDocument/2006/relationships/theme" Target="../theme/theme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28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4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31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30.xml"/><Relationship Id="rId10" Type="http://schemas.openxmlformats.org/officeDocument/2006/relationships/tags" Target="../tags/tag25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50.x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45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49.xml"/><Relationship Id="rId10" Type="http://schemas.openxmlformats.org/officeDocument/2006/relationships/tags" Target="../tags/tag44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34.xml"/><Relationship Id="rId9" Type="http://schemas.openxmlformats.org/officeDocument/2006/relationships/vmlDrawing" Target="../drawings/vmlDrawing5.vml"/><Relationship Id="rId14" Type="http://schemas.openxmlformats.org/officeDocument/2006/relationships/tags" Target="../tags/tag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13" Type="http://schemas.openxmlformats.org/officeDocument/2006/relationships/tags" Target="../tags/tag59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40.xml"/><Relationship Id="rId7" Type="http://schemas.openxmlformats.org/officeDocument/2006/relationships/theme" Target="../theme/theme6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62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61.xml"/><Relationship Id="rId10" Type="http://schemas.openxmlformats.org/officeDocument/2006/relationships/tags" Target="../tags/tag56.xml"/><Relationship Id="rId19" Type="http://schemas.openxmlformats.org/officeDocument/2006/relationships/image" Target="../media/image8.jpeg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55.xml"/><Relationship Id="rId14" Type="http://schemas.openxmlformats.org/officeDocument/2006/relationships/tags" Target="../tags/tag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tags" Target="../tags/tag71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7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7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tags" Target="../tags/tag69.xml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73.xml"/><Relationship Id="rId10" Type="http://schemas.openxmlformats.org/officeDocument/2006/relationships/tags" Target="../tags/tag68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47.xml"/><Relationship Id="rId9" Type="http://schemas.openxmlformats.org/officeDocument/2006/relationships/tags" Target="../tags/tag67.xml"/><Relationship Id="rId14" Type="http://schemas.openxmlformats.org/officeDocument/2006/relationships/tags" Target="../tags/tag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7" name="Rectangle 123"/>
          <p:cNvSpPr>
            <a:spLocks noChangeArrowheads="1"/>
          </p:cNvSpPr>
          <p:nvPr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70" name="Line 146"/>
          <p:cNvSpPr>
            <a:spLocks noChangeShapeType="1"/>
          </p:cNvSpPr>
          <p:nvPr/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686800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/>
        </p:nvSpPr>
        <p:spPr bwMode="auto">
          <a:xfrm>
            <a:off x="9375775" y="6647187"/>
            <a:ext cx="1841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9" name="Text Box 306"/>
          <p:cNvSpPr txBox="1">
            <a:spLocks noChangeArrowheads="1"/>
          </p:cNvSpPr>
          <p:nvPr userDrawn="1"/>
        </p:nvSpPr>
        <p:spPr bwMode="auto">
          <a:xfrm rot="5400000">
            <a:off x="-2090641" y="2284511"/>
            <a:ext cx="44702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E</a:t>
            </a:r>
            <a:r>
              <a:rPr lang="en-US" baseline="0" dirty="0">
                <a:solidFill>
                  <a:srgbClr val="FFFFFF"/>
                </a:solidFill>
                <a:latin typeface="Calibri" pitchFamily="34" charset="0"/>
              </a:rPr>
              <a:t> S H E L M A N    S C H O O L    O F    P H A R M A C Y </a:t>
            </a:r>
            <a:endParaRPr lang="en-US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9" r:id="rId3"/>
    <p:sldLayoutId id="2147483756" r:id="rId4"/>
    <p:sldLayoutId id="2147483757" r:id="rId5"/>
    <p:sldLayoutId id="2147483758" r:id="rId6"/>
    <p:sldLayoutId id="2147483760" r:id="rId7"/>
    <p:sldLayoutId id="2147483854" r:id="rId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00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7" name="Rectangle 12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70" name="Line 146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57200" y="1600200"/>
            <a:ext cx="8686800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9363075" y="6647187"/>
            <a:ext cx="1841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pic>
        <p:nvPicPr>
          <p:cNvPr id="11" name="Picture 5" descr="C:\Documents and Settings\wmcswain\Desktop\Walker McSwain\hcs logo.jpg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849341" y="6206485"/>
            <a:ext cx="1525171" cy="449328"/>
          </a:xfrm>
          <a:prstGeom prst="rect">
            <a:avLst/>
          </a:prstGeom>
          <a:noFill/>
        </p:spPr>
      </p:pic>
      <p:sp>
        <p:nvSpPr>
          <p:cNvPr id="12" name="Text Box 306"/>
          <p:cNvSpPr txBox="1">
            <a:spLocks noChangeArrowheads="1"/>
          </p:cNvSpPr>
          <p:nvPr userDrawn="1"/>
        </p:nvSpPr>
        <p:spPr bwMode="auto">
          <a:xfrm rot="5400000">
            <a:off x="-2090641" y="2284511"/>
            <a:ext cx="44702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E</a:t>
            </a:r>
            <a:r>
              <a:rPr lang="en-US" baseline="0" dirty="0">
                <a:solidFill>
                  <a:srgbClr val="FFFFFF"/>
                </a:solidFill>
                <a:latin typeface="Calibri" pitchFamily="34" charset="0"/>
              </a:rPr>
              <a:t> S H E L M A N    S C H O O L    O F    P H A R M A C Y </a:t>
            </a:r>
            <a:endParaRPr lang="en-US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6" r:id="rId4"/>
    <p:sldLayoutId id="2147483767" r:id="rId5"/>
    <p:sldLayoutId id="2147483768" r:id="rId6"/>
    <p:sldLayoutId id="2147483864" r:id="rId7"/>
    <p:sldLayoutId id="2147483873" r:id="rId8"/>
    <p:sldLayoutId id="2147483874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7" name="Rectangle 123"/>
          <p:cNvSpPr>
            <a:spLocks noChangeArrowheads="1"/>
          </p:cNvSpPr>
          <p:nvPr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70" name="Line 146"/>
          <p:cNvSpPr>
            <a:spLocks noChangeShapeType="1"/>
          </p:cNvSpPr>
          <p:nvPr/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686800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/>
        </p:nvSpPr>
        <p:spPr bwMode="auto">
          <a:xfrm>
            <a:off x="9375775" y="6647187"/>
            <a:ext cx="1841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330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pic>
        <p:nvPicPr>
          <p:cNvPr id="9" name="Picture 11" descr="C:\Documents and Settings\wmcswain\Desktop\Walker McSwain\UNC P&amp;A logo.jpg"/>
          <p:cNvPicPr>
            <a:picLocks noChangeAspect="1" noChangeArrowheads="1"/>
          </p:cNvPicPr>
          <p:nvPr userDrawn="1"/>
        </p:nvPicPr>
        <p:blipFill>
          <a:blip r:embed="rId9" cstate="print"/>
          <a:srcRect l="8333" t="15374" r="8333" b="15445"/>
          <a:stretch>
            <a:fillRect/>
          </a:stretch>
        </p:blipFill>
        <p:spPr bwMode="auto">
          <a:xfrm>
            <a:off x="7846795" y="6161245"/>
            <a:ext cx="1524000" cy="6858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70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21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2" descr="C:\Documents and Settings\wmcswain\Desktop\Walker McSwain\UNCH Logo.JPG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642791" y="6005142"/>
            <a:ext cx="1822216" cy="836615"/>
          </a:xfrm>
          <a:prstGeom prst="rect">
            <a:avLst/>
          </a:prstGeom>
          <a:noFill/>
        </p:spPr>
      </p:pic>
      <p:sp>
        <p:nvSpPr>
          <p:cNvPr id="1147" name="Rectangle 12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70" name="Line 14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457200" y="1600200"/>
            <a:ext cx="8686800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72932" y="6661150"/>
            <a:ext cx="1841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330" name="Text Box 306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6" r:id="rId4"/>
    <p:sldLayoutId id="2147483774" r:id="rId5"/>
    <p:sldLayoutId id="2147483775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45" name="think-cell Slide" r:id="rId19" imgW="0" imgH="0" progId="TCLayout.ActiveDocument.1">
                  <p:embed/>
                </p:oleObj>
              </mc:Choice>
              <mc:Fallback>
                <p:oleObj name="think-cell Slide" r:id="rId19" imgW="0" imgH="0" progId="TCLayout.ActiveDocument.1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:\Documents and Settings\wmcswain\Desktop\Walker McSwain\Rex logo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307249" y="6208564"/>
            <a:ext cx="992019" cy="434008"/>
          </a:xfrm>
          <a:prstGeom prst="rect">
            <a:avLst/>
          </a:prstGeom>
          <a:noFill/>
        </p:spPr>
      </p:pic>
      <p:sp>
        <p:nvSpPr>
          <p:cNvPr id="1147" name="Rectangle 12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70" name="Line 146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457200" y="1600200"/>
            <a:ext cx="8686800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9363075" y="6661150"/>
            <a:ext cx="1841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330" name="Text Box 306"/>
          <p:cNvSpPr txBox="1"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866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69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7" name="Rectangle 12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70" name="Line 146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457200" y="1600200"/>
            <a:ext cx="8686800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9375775" y="6647187"/>
            <a:ext cx="1841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330" name="Text Box 306"/>
          <p:cNvSpPr txBox="1"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pic>
        <p:nvPicPr>
          <p:cNvPr id="12" name="Picture 4" descr="C:\Documents and Settings\wmcswain\Desktop\Walker McSwain\Chatham logo.JPG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19" cstate="print"/>
          <a:srcRect l="7178" r="10271"/>
          <a:stretch>
            <a:fillRect/>
          </a:stretch>
        </p:blipFill>
        <p:spPr bwMode="auto">
          <a:xfrm>
            <a:off x="7797436" y="6117597"/>
            <a:ext cx="1752600" cy="555468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93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0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187589" y="6130925"/>
            <a:ext cx="1066159" cy="629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47" name="Rectangle 12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70" name="Line 146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457200" y="1600200"/>
            <a:ext cx="8686800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363075" y="6647187"/>
            <a:ext cx="18415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330" name="Text Box 306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 rot="5400000">
            <a:off x="-1874837" y="2400299"/>
            <a:ext cx="40386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audio" Target="../media/media13.m4a"/><Relationship Id="rId7" Type="http://schemas.openxmlformats.org/officeDocument/2006/relationships/image" Target="../media/image24.png"/><Relationship Id="rId2" Type="http://schemas.microsoft.com/office/2007/relationships/media" Target="../media/media13.m4a"/><Relationship Id="rId1" Type="http://schemas.openxmlformats.org/officeDocument/2006/relationships/tags" Target="../tags/tag80.xml"/><Relationship Id="rId6" Type="http://schemas.openxmlformats.org/officeDocument/2006/relationships/image" Target="../media/image23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6" Type="http://schemas.openxmlformats.org/officeDocument/2006/relationships/image" Target="../media/image15.png"/><Relationship Id="rId5" Type="http://schemas.openxmlformats.org/officeDocument/2006/relationships/image" Target="../media/image26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6" Type="http://schemas.openxmlformats.org/officeDocument/2006/relationships/image" Target="../media/image15.png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8.m4a"/><Relationship Id="rId1" Type="http://schemas.microsoft.com/office/2007/relationships/media" Target="../media/media18.m4a"/><Relationship Id="rId6" Type="http://schemas.openxmlformats.org/officeDocument/2006/relationships/image" Target="../media/image15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9.m4a"/><Relationship Id="rId1" Type="http://schemas.microsoft.com/office/2007/relationships/media" Target="../media/media19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ed.unc.edu/fammed/fammedcenter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jpe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16.jpeg"/><Relationship Id="rId5" Type="http://schemas.openxmlformats.org/officeDocument/2006/relationships/hyperlink" Target="http://greenwayma.com/" TargetMode="External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audio" Target="../media/media6.m4a"/><Relationship Id="rId2" Type="http://schemas.microsoft.com/office/2007/relationships/media" Target="../media/media6.m4a"/><Relationship Id="rId1" Type="http://schemas.openxmlformats.org/officeDocument/2006/relationships/tags" Target="../tags/tag79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15.png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1689794" y="702245"/>
            <a:ext cx="6422580" cy="1459390"/>
          </a:xfrm>
        </p:spPr>
        <p:txBody>
          <a:bodyPr/>
          <a:lstStyle/>
          <a:p>
            <a:pPr algn="ctr"/>
            <a:r>
              <a:rPr lang="en-US" sz="2800" dirty="0"/>
              <a:t>Developing, Sustaining, and Replicating a Role for Pharmacists in Rural Primary Care Pract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147715" y="2155803"/>
            <a:ext cx="4170363" cy="728663"/>
          </a:xfrm>
        </p:spPr>
        <p:txBody>
          <a:bodyPr/>
          <a:lstStyle/>
          <a:p>
            <a:r>
              <a:rPr lang="en-US" dirty="0"/>
              <a:t>April 2020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8505" y="2745658"/>
            <a:ext cx="7450570" cy="2603591"/>
          </a:xfrm>
        </p:spPr>
        <p:txBody>
          <a:bodyPr/>
          <a:lstStyle/>
          <a:p>
            <a:r>
              <a:rPr lang="en-US" b="1" dirty="0"/>
              <a:t>Emily Hawes, PharmD, BCPS, CPP</a:t>
            </a:r>
          </a:p>
          <a:p>
            <a:r>
              <a:rPr lang="en-US" sz="1600" dirty="0"/>
              <a:t>Clinical Pharmacist Practitioner, Greenway Medical Associates</a:t>
            </a:r>
          </a:p>
          <a:p>
            <a:r>
              <a:rPr lang="en-US" sz="1600" dirty="0"/>
              <a:t>Associate Professor, UNC Department of Family Medicine</a:t>
            </a:r>
          </a:p>
          <a:p>
            <a:r>
              <a:rPr lang="en-US" sz="1600" dirty="0"/>
              <a:t>Associate Professor of Clinical Education, UNC Eshelman School of Pharmacy </a:t>
            </a:r>
          </a:p>
          <a:p>
            <a:r>
              <a:rPr lang="en-US" b="1" dirty="0"/>
              <a:t>Bill Hitch, PharmD, BCPS CPP</a:t>
            </a:r>
          </a:p>
          <a:p>
            <a:r>
              <a:rPr lang="en-US" sz="1600" dirty="0"/>
              <a:t>Director of Pharmacotherapy, Mountain Area Health Education Center</a:t>
            </a:r>
          </a:p>
          <a:p>
            <a:r>
              <a:rPr lang="en-US" sz="1600" dirty="0"/>
              <a:t>Assistant Professor of Clinical Education, UNC Eshelman School of Pharmacy</a:t>
            </a:r>
          </a:p>
          <a:p>
            <a:r>
              <a:rPr lang="en-US" sz="1600" dirty="0"/>
              <a:t>Associate Professor, UNC Department of Family Medicine</a:t>
            </a:r>
          </a:p>
          <a:p>
            <a:endParaRPr lang="en-US" sz="1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8660" y="5530857"/>
            <a:ext cx="1487427" cy="10027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694" y="4772933"/>
            <a:ext cx="3260403" cy="2518639"/>
          </a:xfrm>
          <a:prstGeom prst="rect">
            <a:avLst/>
          </a:prstGeom>
        </p:spPr>
      </p:pic>
      <p:pic>
        <p:nvPicPr>
          <p:cNvPr id="9" name="Picture 2" descr="cid:image005.png@01D3D326.71C1CA6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465" y="5736978"/>
            <a:ext cx="2476500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220" y="5530857"/>
            <a:ext cx="1956304" cy="864034"/>
          </a:xfrm>
          <a:prstGeom prst="rect">
            <a:avLst/>
          </a:prstGeom>
        </p:spPr>
      </p:pic>
      <p:pic>
        <p:nvPicPr>
          <p:cNvPr id="14" name="Audio 1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528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107"/>
    </mc:Choice>
    <mc:Fallback xmlns="">
      <p:transition spd="slow" advTm="2610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Co-Visits 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Model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2000" b="0" dirty="0"/>
              <a:t>Model of care where pharmacist and physician patient panels are merged and patients are seen by both provider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2000" b="0" dirty="0"/>
              <a:t>14 patient visits are available on co-visit half days (usual MD panel 10, usual </a:t>
            </a:r>
            <a:r>
              <a:rPr lang="en-US" sz="2000" dirty="0"/>
              <a:t>P</a:t>
            </a:r>
            <a:r>
              <a:rPr lang="en-US" sz="2000" b="0" dirty="0"/>
              <a:t>harmD 7)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2000" b="0" dirty="0"/>
              <a:t>Prior to clinic, pharmacist and physician which patients need co-visit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2000" b="0" dirty="0"/>
              <a:t>Pharmacists usually sees patient while they are waiting to see physician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2000" b="0" dirty="0"/>
              <a:t>Pharmacist and physician share the documentation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Physician bills for services provided by the pharmacist and physician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sz="1700" b="0" dirty="0"/>
          </a:p>
        </p:txBody>
      </p:sp>
      <p:sp>
        <p:nvSpPr>
          <p:cNvPr id="3" name="Rectangle 2"/>
          <p:cNvSpPr/>
          <p:nvPr/>
        </p:nvSpPr>
        <p:spPr>
          <a:xfrm>
            <a:off x="1420960" y="6291943"/>
            <a:ext cx="7047305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lrich IP, Patel S, Gilmer B.  Evaluation of a pharmacist-physician co-visit model in a family medicine practice.  J Am Pharm Assoc 2019 Jan-Feb; 59(1):129-135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Audio 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550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-Visit Benefi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Revenue increased with this model by $800 in charges, $400 in reimbursement per half day of clin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Works well in rural space in a smaller clinic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Convenience for patients receiving all care in one vis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Team based care collaboration and education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Clinicians reported increased satisfaction with clinic workday and less documentation to complete after clinic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3720" y="6130925"/>
            <a:ext cx="7412165" cy="543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lrich IP, Patel S, Gilmer B.  Evaluation of a pharmacist-physician co-visit model in a family medicine practice.  J Am Pharm Assoc 2019 Jan-Feb; 59(1):129-135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Audio 7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39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ing PGY2 Residents to Build Pharmacy Servi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MAHEC PGY2 Ambulatory Care Residency Program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MAHEC partners with one Primary Care office (per resident) annually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Pharmacy resident’s role is to build and implement pharmacy services at this new site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Position is funded 50% by UNC, 25% by MAHEC, and 25% by the practice site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Resident starts with 2 half days per week at practice site which increases to 7 over the year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Goal is for the resident to build sustainable services which could create their job post resid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Benefits of this model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In the last 4 years, our 8 pharmacy residents have sustained 5.7 position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Year one is often the hardest year financially as a pharmacist builds their patient panel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Practice site pays 25% of a resident’s salary in year one while building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Relationship building between resident and practice site during the building year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/>
              <a:t>Practice site has a low cost trial period of pharmacy services before committing more significant funds to a posi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98505" y="6347780"/>
            <a:ext cx="74505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ilson C, Ulrich IP, Scott MA. Factors demonstrating readiness for clinical pharmacy services. </a:t>
            </a:r>
            <a:r>
              <a:rPr lang="en-US" i="1" dirty="0"/>
              <a:t>Am J Health Syst Pharm Nov </a:t>
            </a:r>
            <a:r>
              <a:rPr lang="en-US" dirty="0"/>
              <a:t>2019; 76(21):1717–1718</a:t>
            </a:r>
          </a:p>
        </p:txBody>
      </p:sp>
      <p:pic>
        <p:nvPicPr>
          <p:cNvPr id="6" name="Audio 5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397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ransitions of Care</a:t>
            </a:r>
          </a:p>
        </p:txBody>
      </p:sp>
      <p:sp>
        <p:nvSpPr>
          <p:cNvPr id="2" name="Rectangle 1"/>
          <p:cNvSpPr/>
          <p:nvPr/>
        </p:nvSpPr>
        <p:spPr>
          <a:xfrm>
            <a:off x="115190" y="6147730"/>
            <a:ext cx="46333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Hawes EM, et al. Accountable Care in Transitions (ACTion): A Team-Based Approach to Reducing Hospital Utilization in a Patient-Centered Medical Home. J Pharm Pract. 2018 Apr;31(2):175-182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0600" y="1350163"/>
            <a:ext cx="4594594" cy="544389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6933" y="1835589"/>
            <a:ext cx="4049790" cy="1216296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83694" y="835173"/>
            <a:ext cx="3613705" cy="4530725"/>
          </a:xfrm>
        </p:spPr>
        <p:txBody>
          <a:bodyPr/>
          <a:lstStyle/>
          <a:p>
            <a:pPr marL="358775" lvl="1" indent="0">
              <a:spcBef>
                <a:spcPts val="600"/>
              </a:spcBef>
              <a:buNone/>
            </a:pPr>
            <a:endParaRPr lang="en-US" sz="2000" dirty="0"/>
          </a:p>
          <a:p>
            <a:pPr indent="0">
              <a:spcBef>
                <a:spcPts val="0"/>
              </a:spcBef>
            </a:pPr>
            <a:r>
              <a:rPr lang="en-US" dirty="0"/>
              <a:t>Moderate-to High- Risk patients seen by Multidisciplinary team</a:t>
            </a:r>
          </a:p>
        </p:txBody>
      </p:sp>
      <p:sp>
        <p:nvSpPr>
          <p:cNvPr id="9" name="Right Arrow 8"/>
          <p:cNvSpPr/>
          <p:nvPr/>
        </p:nvSpPr>
        <p:spPr bwMode="auto">
          <a:xfrm>
            <a:off x="4168509" y="5828646"/>
            <a:ext cx="615142" cy="268835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3694" y="3228226"/>
            <a:ext cx="3807200" cy="2545427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 bwMode="auto">
          <a:xfrm>
            <a:off x="4185458" y="5365898"/>
            <a:ext cx="615142" cy="268835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21" name="Audio 20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4396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6440"/>
    </mc:Choice>
    <mc:Fallback xmlns="">
      <p:transition spd="slow" advTm="12644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1"/>
                </p:tgtEl>
              </p:cMediaNode>
            </p:audio>
          </p:childTnLst>
        </p:cTn>
      </p:par>
    </p:tnLst>
    <p:bldLst>
      <p:bldP spid="9" grpId="0" animBg="1"/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-Visi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446" y="1316725"/>
            <a:ext cx="8699554" cy="4530725"/>
          </a:xfrm>
        </p:spPr>
        <p:txBody>
          <a:bodyPr/>
          <a:lstStyle/>
          <a:p>
            <a:pPr indent="0"/>
            <a:r>
              <a:rPr lang="en-US" u="sng" dirty="0"/>
              <a:t>Diabetes Follow Up</a:t>
            </a:r>
          </a:p>
          <a:p>
            <a:pPr marL="465138" indent="-285750">
              <a:buFont typeface="Arial" panose="020B0604020202020204" pitchFamily="34" charset="0"/>
              <a:buChar char="•"/>
            </a:pPr>
            <a:r>
              <a:rPr lang="en-US" b="0" dirty="0"/>
              <a:t>Decrease in A1C by 3.4% observed at 5.7 months after enrollment (p &lt; 0.001)</a:t>
            </a:r>
          </a:p>
          <a:p>
            <a:pPr marL="465138" indent="-285750">
              <a:buFont typeface="Arial" panose="020B0604020202020204" pitchFamily="34" charset="0"/>
              <a:buChar char="•"/>
            </a:pPr>
            <a:r>
              <a:rPr lang="en-US" b="0" dirty="0"/>
              <a:t>Significant improvements in statin use, aspirin use, and BP control</a:t>
            </a:r>
          </a:p>
          <a:p>
            <a:pPr marL="465138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indent="0"/>
            <a:r>
              <a:rPr lang="en-US" u="sng" dirty="0"/>
              <a:t>Warfarin Patient Self Testing</a:t>
            </a:r>
          </a:p>
          <a:p>
            <a:pPr indent="0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89795" y="2843528"/>
            <a:ext cx="6581775" cy="35433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93434" y="6372740"/>
            <a:ext cx="8414330" cy="487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wes EM, Lambert E, Reid A, Tong G, Gwynne M. </a:t>
            </a:r>
            <a:r>
              <a:rPr lang="en-US" sz="1200" kern="18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mplementation and evaluation of a pharmacist-led electronic visit program for diabetes and anticoagulation care in a patient-centered medical home.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m J Health Syst Pharm. 2018 Jun 15;75(12):901-910. 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Audio 9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76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9214"/>
    </mc:Choice>
    <mc:Fallback xmlns="">
      <p:transition spd="slow" advTm="692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Practice readiness for team-based care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Presence of a physician champion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Full EHR Access for pharmacists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Private space to see patients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Buy in from administrative staff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Funding and sustainability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endParaRPr lang="en-US" sz="2000" b="0" dirty="0"/>
          </a:p>
          <a:p>
            <a:pPr marL="358775" lvl="1" indent="0">
              <a:spcBef>
                <a:spcPts val="600"/>
              </a:spcBef>
              <a:buNone/>
            </a:pPr>
            <a:endParaRPr lang="en-US" sz="2000" dirty="0"/>
          </a:p>
          <a:p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76050" y="163498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kern="0" dirty="0"/>
              <a:t>Considerations for Implement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480050" y="6393168"/>
            <a:ext cx="8641100" cy="6851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arrington A, Pokallus A, Ulrich IP, Scott MA, Fay AE, Drake ES, Wilson CG. 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sential factors demonstrating readiness of primary care practices for clinical pharmacy services. 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m J Health Syst Pharm. 2018 Nov 1; 75(21):1708-1713.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Audio 6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595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Priority alignment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Community engagement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Strong pharmacist-physician relationships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Interprofessional collegiality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Teamwork for Population Based Efforts </a:t>
            </a:r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Outcome tracking (clinical, educational, financial)</a:t>
            </a:r>
          </a:p>
          <a:p>
            <a:pPr marL="0" indent="0">
              <a:spcBef>
                <a:spcPts val="600"/>
              </a:spcBef>
            </a:pPr>
            <a:endParaRPr lang="en-US" sz="2000" b="0" dirty="0"/>
          </a:p>
          <a:p>
            <a:pPr marL="358775" lvl="1" indent="0">
              <a:spcBef>
                <a:spcPts val="600"/>
              </a:spcBef>
              <a:buNone/>
            </a:pPr>
            <a:endParaRPr lang="en-US" sz="2000" dirty="0"/>
          </a:p>
          <a:p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576050" y="163498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kern="0" dirty="0"/>
              <a:t>Strategies for Sustainability</a:t>
            </a:r>
          </a:p>
        </p:txBody>
      </p:sp>
      <p:sp>
        <p:nvSpPr>
          <p:cNvPr id="6" name="Rectangle 5"/>
          <p:cNvSpPr/>
          <p:nvPr/>
        </p:nvSpPr>
        <p:spPr>
          <a:xfrm>
            <a:off x="499035" y="6356281"/>
            <a:ext cx="8641100" cy="487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wes EM, Misita C, Burkhart JI, McKnight L, Deyo ZM, Lee RA, Howard C, Eckel SF. </a:t>
            </a:r>
            <a:r>
              <a:rPr lang="en-US" sz="1200" kern="18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scribing pharmacists in the ambulatory care setting: Experience at the University of North Carolina Medical Center.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m J Health Syst Pharm. 2016 Sep 15;73(18):1425-33. 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Audio 6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8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5124"/>
    </mc:Choice>
    <mc:Fallback xmlns="">
      <p:transition spd="slow" advTm="1851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come Tracking – Financial/Produ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926" y="1600200"/>
            <a:ext cx="8759348" cy="448296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99035" y="6356281"/>
            <a:ext cx="8641100" cy="487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wes EM, Misita C, Burkhart JI, McKnight L, Deyo ZM, Lee RA, Howard C, Eckel SF. </a:t>
            </a:r>
            <a:r>
              <a:rPr lang="en-US" sz="1200" kern="18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scribing pharmacists in the ambulatory care setting: Experience at the University of North Carolina Medical Center.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m J Health Syst Pharm. 2016 Sep 15;73(18):1425-33. 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Audio 1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65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507"/>
    </mc:Choice>
    <mc:Fallback xmlns="">
      <p:transition spd="slow" advTm="2950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come Tracking - Clinic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873" y="1663081"/>
            <a:ext cx="8125454" cy="447637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99035" y="6356281"/>
            <a:ext cx="8641100" cy="487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wes EM, Misita C, Burkhart JI, McKnight L, Deyo ZM, Lee RA, Howard C, Eckel SF. </a:t>
            </a:r>
            <a:r>
              <a:rPr lang="en-US" sz="1200" kern="18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scribing pharmacists in the ambulatory care setting: Experience at the University of North Carolina Medical Center.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m J Health Syst Pharm. 2016 Sep 15;73(18):1425-33. 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Audio 10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05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953"/>
    </mc:Choice>
    <mc:Fallback xmlns="">
      <p:transition spd="slow" advTm="4495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 Home Po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Pharmacists can provide a variety of services to rural primary care offices including patient education, anticoagulation services, chronic disease management, polypharmacy assessment, transitions of care, annual wellness, and medication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Collaborative practice agreements between pharmacists and physicians allow pharmacists to work at the top of their license and can save physicians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Pharmacists can enhance patient care, improve practice quality measures, and decrease 30 day hospital readmission r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Interprofessional teams provide rich opportunities for pharmacy and medical educ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Several financial models exist that can sustain pharmacy services in rural set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" name="Audio 6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590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000" dirty="0"/>
              <a:t>Describe the key strategies for successfully developing and maintaining primary care-based pharmacotherapy clinics in rural North Carolina.</a:t>
            </a:r>
          </a:p>
          <a:p>
            <a:pPr lvl="0"/>
            <a:endParaRPr lang="en-US" sz="2000" dirty="0"/>
          </a:p>
          <a:p>
            <a:pPr lvl="0"/>
            <a:r>
              <a:rPr lang="en-US" sz="2000" dirty="0"/>
              <a:t>Discuss billing methods, revenue options, and sustainability considerations for pharmacy practice models.</a:t>
            </a:r>
          </a:p>
          <a:p>
            <a:pPr lvl="0"/>
            <a:endParaRPr lang="en-US" sz="2000" dirty="0"/>
          </a:p>
          <a:p>
            <a:pPr lvl="0"/>
            <a:r>
              <a:rPr lang="en-US" sz="2000" dirty="0"/>
              <a:t>Describe the benefits and challenges of interprofessional health education in rural settings. </a:t>
            </a:r>
          </a:p>
          <a:p>
            <a:endParaRPr lang="en-US" dirty="0"/>
          </a:p>
        </p:txBody>
      </p:sp>
      <p:pic>
        <p:nvPicPr>
          <p:cNvPr id="11" name="Audio 10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55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619"/>
    </mc:Choice>
    <mc:Fallback xmlns="">
      <p:transition spd="slow" advTm="366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1689794" y="702245"/>
            <a:ext cx="6422580" cy="1459390"/>
          </a:xfrm>
        </p:spPr>
        <p:txBody>
          <a:bodyPr/>
          <a:lstStyle/>
          <a:p>
            <a:pPr algn="ctr"/>
            <a:r>
              <a:rPr lang="en-US" sz="4400" dirty="0"/>
              <a:t>QUESTIONS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175799" y="2545685"/>
            <a:ext cx="7450570" cy="2150680"/>
          </a:xfrm>
        </p:spPr>
        <p:txBody>
          <a:bodyPr/>
          <a:lstStyle/>
          <a:p>
            <a:pPr algn="ctr"/>
            <a:r>
              <a:rPr lang="en-US" sz="2400" b="1" dirty="0">
                <a:solidFill>
                  <a:schemeClr val="tx1"/>
                </a:solidFill>
              </a:rPr>
              <a:t>Emily Hawes</a:t>
            </a:r>
          </a:p>
          <a:p>
            <a:pPr algn="ctr"/>
            <a:r>
              <a:rPr lang="en-US" sz="2400" b="1" dirty="0">
                <a:solidFill>
                  <a:schemeClr val="tx1"/>
                </a:solidFill>
              </a:rPr>
              <a:t>emily_hawes@med.unc.edu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2400" b="1" dirty="0">
                <a:solidFill>
                  <a:schemeClr val="tx1"/>
                </a:solidFill>
              </a:rPr>
              <a:t>Bill Hitch</a:t>
            </a:r>
          </a:p>
          <a:p>
            <a:pPr algn="ctr"/>
            <a:r>
              <a:rPr lang="en-US" sz="2400" b="1" dirty="0">
                <a:solidFill>
                  <a:schemeClr val="tx1"/>
                </a:solidFill>
              </a:rPr>
              <a:t>Bill.Hitch@mahec.net</a:t>
            </a:r>
          </a:p>
          <a:p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8660" y="5530857"/>
            <a:ext cx="1487427" cy="10027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694" y="4772933"/>
            <a:ext cx="3260403" cy="2518639"/>
          </a:xfrm>
          <a:prstGeom prst="rect">
            <a:avLst/>
          </a:prstGeom>
        </p:spPr>
      </p:pic>
      <p:pic>
        <p:nvPicPr>
          <p:cNvPr id="9" name="Picture 2" descr="cid:image005.png@01D3D326.71C1CA6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9465" y="5736978"/>
            <a:ext cx="2476500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30" y="5600235"/>
            <a:ext cx="1956304" cy="864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9486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7840980" y="6384926"/>
            <a:ext cx="1360170" cy="396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9DE05E2-8E0B-4095-9C7F-608BDD30E3AA}" type="slidenum">
              <a:rPr lang="en-US" smtClean="0">
                <a:solidFill>
                  <a:schemeClr val="bg2"/>
                </a:solidFill>
              </a:rPr>
              <a:pPr eaLnBrk="1" hangingPunct="1"/>
              <a:t>2</a:t>
            </a:fld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>
          <a:xfrm>
            <a:off x="422430" y="471815"/>
            <a:ext cx="7120890" cy="437070"/>
          </a:xfrm>
        </p:spPr>
        <p:txBody>
          <a:bodyPr/>
          <a:lstStyle/>
          <a:p>
            <a:pPr eaLnBrk="1" hangingPunct="1">
              <a:defRPr/>
            </a:pPr>
            <a:br>
              <a:rPr lang="en-US" dirty="0"/>
            </a:br>
            <a:r>
              <a:rPr lang="en-US" dirty="0"/>
              <a:t>Emily’s Background </a:t>
            </a:r>
          </a:p>
        </p:txBody>
      </p:sp>
      <p:sp>
        <p:nvSpPr>
          <p:cNvPr id="8" name="Shape 206"/>
          <p:cNvSpPr txBox="1">
            <a:spLocks/>
          </p:cNvSpPr>
          <p:nvPr/>
        </p:nvSpPr>
        <p:spPr bwMode="auto">
          <a:xfrm>
            <a:off x="576050" y="1676232"/>
            <a:ext cx="4176525" cy="1815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0" tIns="45700" rIns="91400" bIns="45700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400">
                <a:solidFill>
                  <a:srgbClr val="335FB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»"/>
              <a:defRPr sz="2200">
                <a:solidFill>
                  <a:srgbClr val="41414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 sz="2000">
                <a:solidFill>
                  <a:srgbClr val="41414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»"/>
              <a:defRPr>
                <a:solidFill>
                  <a:srgbClr val="41414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x-none" sz="2000" kern="0" dirty="0">
                <a:solidFill>
                  <a:schemeClr val="tx1"/>
                </a:solidFill>
                <a:ea typeface="Arial"/>
                <a:sym typeface="Arial"/>
              </a:rPr>
              <a:t> </a:t>
            </a:r>
            <a:r>
              <a:rPr lang="en-US" sz="2000" kern="0" dirty="0">
                <a:solidFill>
                  <a:schemeClr val="tx1"/>
                </a:solidFill>
                <a:ea typeface="Arial"/>
                <a:sym typeface="Arial"/>
                <a:hlinkClick r:id="rId5"/>
              </a:rPr>
              <a:t>Greenway Medical Associates</a:t>
            </a:r>
            <a:endParaRPr lang="en-US" sz="2000" kern="0" dirty="0">
              <a:solidFill>
                <a:schemeClr val="tx1"/>
              </a:solidFill>
              <a:ea typeface="Arial"/>
              <a:sym typeface="Arial"/>
            </a:endParaRP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Located</a:t>
            </a:r>
            <a:r>
              <a:rPr lang="x-none" sz="1800" kern="0" dirty="0">
                <a:solidFill>
                  <a:schemeClr val="tx1"/>
                </a:solidFill>
                <a:ea typeface="Arial"/>
                <a:sym typeface="Arial"/>
              </a:rPr>
              <a:t> </a:t>
            </a: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in Boone, NC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3 PCPs (2 NPs and 1 MD)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PCMH Level 3 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1 LPA and 1 CPP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4" y="3728684"/>
            <a:ext cx="3539100" cy="2654325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482" y="3730601"/>
            <a:ext cx="3716055" cy="265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hape 206"/>
          <p:cNvSpPr txBox="1">
            <a:spLocks/>
          </p:cNvSpPr>
          <p:nvPr/>
        </p:nvSpPr>
        <p:spPr bwMode="auto">
          <a:xfrm>
            <a:off x="5024625" y="1676232"/>
            <a:ext cx="4176525" cy="1815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0" tIns="45700" rIns="91400" bIns="45700">
            <a:sp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400">
                <a:solidFill>
                  <a:srgbClr val="335FB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»"/>
              <a:defRPr sz="2200">
                <a:solidFill>
                  <a:srgbClr val="41414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 sz="2000">
                <a:solidFill>
                  <a:srgbClr val="41414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»"/>
              <a:defRPr>
                <a:solidFill>
                  <a:srgbClr val="41414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>
                <a:solidFill>
                  <a:srgbClr val="41414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2000" kern="0" dirty="0">
                <a:solidFill>
                  <a:schemeClr val="tx1"/>
                </a:solidFill>
                <a:ea typeface="Arial"/>
                <a:sym typeface="Arial"/>
                <a:hlinkClick r:id="rId8"/>
              </a:rPr>
              <a:t>UNC Family Medicine Center</a:t>
            </a:r>
            <a:endParaRPr lang="en-US" sz="2000" kern="0" dirty="0">
              <a:solidFill>
                <a:schemeClr val="tx1"/>
              </a:solidFill>
              <a:ea typeface="Arial"/>
              <a:sym typeface="Arial"/>
            </a:endParaRP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Located</a:t>
            </a:r>
            <a:r>
              <a:rPr lang="x-none" sz="1800" kern="0" dirty="0">
                <a:solidFill>
                  <a:schemeClr val="tx1"/>
                </a:solidFill>
                <a:ea typeface="Arial"/>
                <a:sym typeface="Arial"/>
              </a:rPr>
              <a:t> </a:t>
            </a: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in Chapel Hill, NC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64 PCPs (~ 10 FTE)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PCMH Level 3 </a:t>
            </a:r>
          </a:p>
          <a:p>
            <a:pPr lvl="1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ct val="99999"/>
              <a:buFont typeface="Arial" pitchFamily="34" charset="0"/>
              <a:buChar char="•"/>
              <a:defRPr/>
            </a:pPr>
            <a:r>
              <a:rPr lang="en-US" sz="1800" kern="0" dirty="0">
                <a:solidFill>
                  <a:schemeClr val="tx1"/>
                </a:solidFill>
                <a:ea typeface="Arial"/>
                <a:sym typeface="Arial"/>
              </a:rPr>
              <a:t>4 LCSW and 2 CPP </a:t>
            </a:r>
          </a:p>
        </p:txBody>
      </p:sp>
      <p:pic>
        <p:nvPicPr>
          <p:cNvPr id="15" name="Audio 1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38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5855"/>
    </mc:Choice>
    <mc:Fallback xmlns="">
      <p:transition spd="slow" advTm="558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br>
              <a:rPr lang="en-US" dirty="0"/>
            </a:br>
            <a:r>
              <a:rPr lang="en-US" dirty="0"/>
              <a:t>Bill’s Backgroun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2077619"/>
            <a:ext cx="3691735" cy="4492724"/>
          </a:xfrm>
        </p:spPr>
        <p:txBody>
          <a:bodyPr/>
          <a:lstStyle/>
          <a:p>
            <a:r>
              <a:rPr lang="en-US" dirty="0"/>
              <a:t>	</a:t>
            </a:r>
            <a:r>
              <a:rPr lang="en-US" sz="1600" b="0" dirty="0"/>
              <a:t>Locations in Asheville, Cane Creek, and Candler, North Carolina</a:t>
            </a:r>
          </a:p>
          <a:p>
            <a:endParaRPr lang="en-US" sz="1600" b="0" dirty="0"/>
          </a:p>
          <a:p>
            <a:r>
              <a:rPr lang="en-US" sz="1600" b="0" dirty="0"/>
              <a:t>	Multisite Family Medicine organization containing 4 Family Health Centers, one OB/GYN office, and 2 Continuing Care Retirement Community (CCRC) clinics</a:t>
            </a:r>
          </a:p>
          <a:p>
            <a:r>
              <a:rPr lang="en-US" sz="1600" b="0" dirty="0"/>
              <a:t>	</a:t>
            </a:r>
          </a:p>
          <a:p>
            <a:r>
              <a:rPr lang="en-US" sz="1600" b="0" dirty="0"/>
              <a:t>	30 PCPs (26 MDs, 3 PAs + 1 FNP)</a:t>
            </a:r>
          </a:p>
          <a:p>
            <a:endParaRPr lang="en-US" sz="1600" b="0" dirty="0"/>
          </a:p>
          <a:p>
            <a:r>
              <a:rPr lang="en-US" sz="1600" b="0" dirty="0"/>
              <a:t>	Level 3 PCMH</a:t>
            </a:r>
          </a:p>
          <a:p>
            <a:endParaRPr lang="en-US" dirty="0"/>
          </a:p>
          <a:p>
            <a:r>
              <a:rPr lang="en-US" dirty="0"/>
              <a:t>	</a:t>
            </a:r>
            <a:r>
              <a:rPr lang="en-US" sz="1600" b="0" dirty="0"/>
              <a:t>7 CPPs, 4 BH, 1 Dieticia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9082" y="1186113"/>
            <a:ext cx="4164918" cy="178301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1216" y="3211981"/>
            <a:ext cx="2700649" cy="160753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09600" y="1371600"/>
            <a:ext cx="4071934" cy="706438"/>
          </a:xfrm>
        </p:spPr>
        <p:txBody>
          <a:bodyPr/>
          <a:lstStyle/>
          <a:p>
            <a:r>
              <a:rPr lang="en-US" dirty="0">
                <a:solidFill>
                  <a:schemeClr val="tx2">
                    <a:lumMod val="20000"/>
                    <a:lumOff val="80000"/>
                  </a:schemeClr>
                </a:solidFill>
              </a:rPr>
              <a:t>Mountain Area Health Education Center</a:t>
            </a:r>
          </a:p>
        </p:txBody>
      </p:sp>
      <p:sp>
        <p:nvSpPr>
          <p:cNvPr id="512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240713" y="6384925"/>
            <a:ext cx="1360487" cy="396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9DE05E2-8E0B-4095-9C7F-608BDD30E3AA}" type="slidenum">
              <a:rPr lang="en-US" smtClean="0">
                <a:solidFill>
                  <a:schemeClr val="bg2"/>
                </a:solidFill>
              </a:rPr>
              <a:pPr eaLnBrk="1" hangingPunct="1"/>
              <a:t>3</a:t>
            </a:fld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51280" y="5046198"/>
            <a:ext cx="2192720" cy="14998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81534" y="5137026"/>
            <a:ext cx="2059363" cy="1433317"/>
          </a:xfrm>
          <a:prstGeom prst="rect">
            <a:avLst/>
          </a:prstGeom>
        </p:spPr>
      </p:pic>
      <p:pic>
        <p:nvPicPr>
          <p:cNvPr id="8" name="Audio 7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391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rmacy Scope of Pract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075" y="1585560"/>
            <a:ext cx="8686800" cy="4530725"/>
          </a:xfrm>
        </p:spPr>
        <p:txBody>
          <a:bodyPr>
            <a:normAutofit/>
          </a:bodyPr>
          <a:lstStyle/>
          <a:p>
            <a:r>
              <a:rPr lang="en-US" sz="2000" dirty="0"/>
              <a:t>Direct Patient Care</a:t>
            </a:r>
          </a:p>
          <a:p>
            <a:pPr marL="701675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Pharmacotherapy Visits</a:t>
            </a:r>
          </a:p>
          <a:p>
            <a:pPr marL="0" indent="0"/>
            <a:r>
              <a:rPr lang="en-US" sz="2000" dirty="0"/>
              <a:t>	- Collaborative Practice Agreements </a:t>
            </a:r>
          </a:p>
          <a:p>
            <a:pPr marL="701675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Multidisciplinary Visits</a:t>
            </a:r>
          </a:p>
          <a:p>
            <a:r>
              <a:rPr lang="en-US" sz="2000" dirty="0"/>
              <a:t>Drug Information Services/Consultation</a:t>
            </a:r>
          </a:p>
          <a:p>
            <a:r>
              <a:rPr lang="en-US" sz="2000" dirty="0"/>
              <a:t>Evidence-based care algorithms</a:t>
            </a:r>
          </a:p>
          <a:p>
            <a:r>
              <a:rPr lang="en-US" sz="2000" dirty="0"/>
              <a:t>Population-based efforts</a:t>
            </a:r>
          </a:p>
          <a:p>
            <a:r>
              <a:rPr lang="en-US" sz="2000" dirty="0"/>
              <a:t>Continuous quality improvement</a:t>
            </a:r>
          </a:p>
          <a:p>
            <a:r>
              <a:rPr lang="en-US" sz="2000" dirty="0"/>
              <a:t>Education</a:t>
            </a:r>
          </a:p>
          <a:p>
            <a:r>
              <a:rPr lang="en-US" sz="2000" dirty="0"/>
              <a:t>Accreditation/Certifications</a:t>
            </a:r>
          </a:p>
        </p:txBody>
      </p:sp>
      <p:pic>
        <p:nvPicPr>
          <p:cNvPr id="9" name="Audio 8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51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5497"/>
    </mc:Choice>
    <mc:Fallback xmlns="">
      <p:transition spd="slow" advTm="1454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Pharmacist Practition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6035" y="1534316"/>
            <a:ext cx="8686800" cy="4530725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Atrial Fibrillation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DVT/PE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Chronic Pain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Diabetes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Hyperlipidemia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Hypertension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Osteoporosis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Depression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Asthma/COPD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Hypothyroidism/Hyperthyroidism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Gout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b="0" dirty="0"/>
              <a:t>Hepatitis C</a:t>
            </a:r>
          </a:p>
        </p:txBody>
      </p:sp>
      <p:sp>
        <p:nvSpPr>
          <p:cNvPr id="4" name="Right Brace 3"/>
          <p:cNvSpPr/>
          <p:nvPr/>
        </p:nvSpPr>
        <p:spPr>
          <a:xfrm>
            <a:off x="4280620" y="1265262"/>
            <a:ext cx="1024128" cy="5068835"/>
          </a:xfrm>
          <a:prstGeom prst="rightBrac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5304748" y="2284567"/>
            <a:ext cx="4493385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693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25571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616075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0732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5304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9876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4448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ts val="600"/>
              </a:spcBef>
            </a:pPr>
            <a:r>
              <a:rPr lang="en-US" sz="2000" b="0" kern="0" dirty="0"/>
              <a:t>Prescribe pharmacotherapy</a:t>
            </a:r>
          </a:p>
          <a:p>
            <a:pPr marL="0" indent="0">
              <a:spcBef>
                <a:spcPts val="600"/>
              </a:spcBef>
            </a:pPr>
            <a:endParaRPr lang="en-US" sz="2000" b="0" kern="0" dirty="0"/>
          </a:p>
          <a:p>
            <a:pPr marL="0" indent="0">
              <a:spcBef>
                <a:spcPts val="600"/>
              </a:spcBef>
            </a:pPr>
            <a:r>
              <a:rPr lang="en-US" sz="2000" b="0" kern="0" dirty="0"/>
              <a:t>Order &amp; interpret labs</a:t>
            </a:r>
          </a:p>
          <a:p>
            <a:pPr marL="0" indent="0">
              <a:spcBef>
                <a:spcPts val="600"/>
              </a:spcBef>
            </a:pPr>
            <a:endParaRPr lang="en-US" sz="2000" b="0" kern="0" dirty="0"/>
          </a:p>
          <a:p>
            <a:pPr marL="0" indent="0">
              <a:spcBef>
                <a:spcPts val="600"/>
              </a:spcBef>
            </a:pPr>
            <a:r>
              <a:rPr lang="en-US" sz="2000" b="0" kern="0" dirty="0"/>
              <a:t>Monitor for efficacy and side effects</a:t>
            </a:r>
          </a:p>
          <a:p>
            <a:pPr marL="0" indent="0">
              <a:spcBef>
                <a:spcPts val="600"/>
              </a:spcBef>
            </a:pPr>
            <a:endParaRPr lang="en-US" sz="2000" b="0" kern="0" dirty="0"/>
          </a:p>
          <a:p>
            <a:pPr marL="0" indent="0">
              <a:spcBef>
                <a:spcPts val="600"/>
              </a:spcBef>
            </a:pPr>
            <a:r>
              <a:rPr lang="en-US" sz="2000" b="0" kern="0" dirty="0"/>
              <a:t>Bill for servi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509490" y="6415088"/>
            <a:ext cx="8641100" cy="4788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wes EM, Misita C, Burkhart JI, McKnight L, Deyo ZM, Lee RA, Howard C, Eckel SF. </a:t>
            </a:r>
            <a:r>
              <a:rPr lang="en-US" sz="1200" kern="18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scribing pharmacists in the ambulatory care setting: Experience at the University of North Carolina Medical Center.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m J Health Syst Pharm. 2016 Sep 15;73(18):1425-33. 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" name="Audio 13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0064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7454"/>
    </mc:Choice>
    <mc:Fallback xmlns="">
      <p:transition spd="slow" advTm="7745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  <p:bldLst>
      <p:bldP spid="4" grpId="0" animBg="1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ll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“Incident to” Billing by Pharmacist</a:t>
            </a:r>
          </a:p>
          <a:p>
            <a:pPr marL="1003300" lvl="2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99211-99214</a:t>
            </a:r>
          </a:p>
          <a:p>
            <a:pPr marL="1003300" lvl="2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Medicare Wellness Visit codes G0438, G0439</a:t>
            </a:r>
          </a:p>
          <a:p>
            <a:pPr marL="1003300" lvl="2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E-visits 99444</a:t>
            </a:r>
          </a:p>
          <a:p>
            <a:pPr marL="1003300" lvl="2" indent="-285750">
              <a:spcBef>
                <a:spcPts val="600"/>
              </a:spcBef>
              <a:buFont typeface="Arial" pitchFamily="34" charset="0"/>
              <a:buChar char="•"/>
            </a:pPr>
            <a:endParaRPr lang="en-US" sz="2000" dirty="0"/>
          </a:p>
          <a:p>
            <a:pPr marL="644525" lvl="1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Indirect Billing</a:t>
            </a:r>
          </a:p>
          <a:p>
            <a:pPr marL="1003300" lvl="2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Transitional Care Management codes 99495- 99496</a:t>
            </a:r>
          </a:p>
          <a:p>
            <a:pPr marL="1003300" lvl="2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US" sz="2000" dirty="0"/>
              <a:t>Co-visit model supporting physician billing level 99211-99215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endParaRPr lang="en-US" sz="2000" b="0" dirty="0"/>
          </a:p>
          <a:p>
            <a:pPr marL="358775" lvl="1" indent="0">
              <a:spcBef>
                <a:spcPts val="600"/>
              </a:spcBef>
              <a:buNone/>
            </a:pPr>
            <a:endParaRPr lang="en-US" sz="2000" dirty="0"/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728200" y="6370431"/>
            <a:ext cx="6743700" cy="487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cott MA, Hitch WJ, Wilson CG, Lugo AM. </a:t>
            </a:r>
            <a:r>
              <a:rPr lang="en-US" sz="1200" kern="18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illing for pharmacists' cognitive services in physicians' offices: multiple methods of reimbursement.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 Am Pharm Assoc (2003). 2012 Mar-Apr;52(2):175-80. </a:t>
            </a:r>
            <a:endParaRPr lang="en-US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Audio 5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837613" y="609441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88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8471"/>
    </mc:Choice>
    <mc:Fallback xmlns="">
      <p:transition spd="slow" advTm="7847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Medicare Annual Wellness Visit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Annual visit focused around preventative health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b="0" dirty="0"/>
              <a:t>Health risk assessment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Updating family, medical, social histories and provider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Assessment of memory, depression, fall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b="0" dirty="0"/>
              <a:t>Schedule for routine screening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Benefits of pharmacists conducting annual wellness visits: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Annual review and assessment of the medication regimen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b="0" dirty="0"/>
              <a:t>Increased % of completed annual wellness visit in the practice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Challenging for physician to complete if acute health concern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Frees physicians up to see other patient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Revenue generated from 1070 AWVs supports 1 clinic pharmacist</a:t>
            </a:r>
            <a:endParaRPr lang="en-US" sz="2000" dirty="0"/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  <p:sp>
        <p:nvSpPr>
          <p:cNvPr id="3" name="TextBox 2"/>
          <p:cNvSpPr txBox="1"/>
          <p:nvPr/>
        </p:nvSpPr>
        <p:spPr>
          <a:xfrm>
            <a:off x="2035440" y="6002135"/>
            <a:ext cx="5875965" cy="773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rk I, Sutherland S, Ray L, Wilson CG.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inancial implications of pharmacist-led Medicare annual wellness visits. JAPhA 2014 Aug-Sept; 54(4): 435-40</a:t>
            </a:r>
          </a:p>
          <a:p>
            <a:pPr marR="0" lvl="0" algn="l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Audio 9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772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nual Wellness Billing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45620" y="1124700"/>
            <a:ext cx="8862923" cy="529989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574580" y="6331266"/>
            <a:ext cx="7066520" cy="543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rk I, Sutherland S, Ray L, Wilson CG.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inancial implications of pharmacist-led Medicare annual wellness visits. JAPhA 2014 Aug-Sept; 54(4): 435-40</a:t>
            </a:r>
          </a:p>
        </p:txBody>
      </p:sp>
      <p:pic>
        <p:nvPicPr>
          <p:cNvPr id="10" name="Audio 9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9040813" y="6297613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610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1.53899999999999990000E+000&quot;&gt;&lt;m_ppcolschidx val=&quot;0&quot;/&gt;&lt;m_rgb r=&quot;f9&quot; g=&quot;fe&quot; b=&quot;92&quot;/&gt;&lt;/elem&gt;&lt;elem m_fUsage=&quot;1.53144100000000010000E+000&quot;&gt;&lt;m_ppcolschidx val=&quot;0&quot;/&gt;&lt;m_rgb r=&quot;ff&quot; g=&quot;0&quot; b=&quot;0&quot;/&gt;&lt;/elem&gt;&lt;elem m_fUsage=&quot;1.24659000000000010000E+000&quot;&gt;&lt;m_ppcolschidx val=&quot;0&quot;/&gt;&lt;m_rgb r=&quot;ff&quot; g=&quot;fa&quot; b=&quot;20&quot;/&gt;&lt;/elem&gt;&lt;elem m_fUsage=&quot;9.00000000000000020000E-001&quot;&gt;&lt;m_ppcolschidx val=&quot;0&quot;/&gt;&lt;m_rgb r=&quot;58&quot; g=&quot;ed&quot; b=&quot;10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0&quot;/&gt;&lt;elem&gt;&lt;m_nPartnerID val=&quot;530&quot;/&gt;&lt;m_nIndex val=&quot;4&quot;/&gt;&lt;/elem&gt;&lt;key val=&quot;3&quot;/&gt;&lt;elem&gt;&lt;m_nPartnerID val=&quot;53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60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G1cKnChU6.fq2_0j6r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xngWO4bUiLgSViAyCb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YszX.NrEyfHRAxLQ6l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R_LwLzwE2.0BkvV.ki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gZGVQFukiqNC0nNZ05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wJhqmSS0S40ejZdma3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sN6EZ7H0mzAx9JTMP.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W8shORMEOJdAfWaKPN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af0_4Zlk6Lw4S1vlB1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sT8bTDGEGAytItI0xe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_lkZKQxUuaE42sfFzB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B3AYjDoEW5q2EAzU2R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omh9ELpEC8vh7FWJht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rd0VE0I0eujUNNBbm_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_GDlTFTESA.LjbCsjP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8kmBdAwUmAvTqqBidz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Q2KTaj30a1CRmIyCJn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P1ZtP7.Uu8tqAjLVTr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QATHpdjEGDHDxTvTjN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2scVetv0SQ0grNNPMN_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6RHVlne0CM5Uw.44sJ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sOhH7ahU2o7tiIJWwC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Z3ReSSwE6jRCASq9.U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mLfDf0X0O5oEopDqzU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SdZ56VLkmYM1Yra5DZ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IQjpKw6Ea1E3NQ23Ws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reyOzEI0SFt7K89FKx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crqkS_vkyEoxzFcL3g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mZxD85g0aPZrGXTunK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_NYIGoAUqY5aqWIj3z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6Q7ZzVMkWs_EgmIYQRK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kDFyCrJUWturwW5Vac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mHt5JE3kiF9iQFbUMf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AExatkD06PqN8nWVSR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LomAElxUSxDYOUT7fI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X6QnoAhkqmSYVEvnpw.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Unk7pYzUafhGKwpLXiC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ZGF_feuUSj3ZYdpBiK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KZtGRRH0iTFTjR5rcu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oQ794_mEWbCnfwWHxI4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SAHPMGSkyoWgqO8MXU2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guYe2qEUe6mZuu6wRU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u1QTO_TUe_3Ux6jsAD3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u1QTO_TUe_3Ux6jsAD3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ziXDZv5kq7bEnEVXt2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vLuSf7kydo7oStDFM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nggre3EkeD93k9dBmXV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2UEL9IEeCJAH1yfHW2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0Nk0LCY02rel8xlLhEl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Ebs3DiEWK1oa1kHfe.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cKQ2DgO0CFpibhJND9X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HRa54VoUKyr3YQmclv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XuYpS.ekaYod9BuyOzR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ziXDZv5kq7bEnEVXt2w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6.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5k9zkRSUCKCVf.rq0Or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9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WvUtgMpkaEzXpxHVnUZw"/>
</p:tagLst>
</file>

<file path=ppt/theme/theme1.xml><?xml version="1.0" encoding="utf-8"?>
<a:theme xmlns:a="http://schemas.openxmlformats.org/drawingml/2006/main" name="UNC-template_Blank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UNC-template_HCS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UNC-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UNC-template_P&amp;A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UNC-template_UNCH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UNC-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UNC-template_Rex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UNC-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UNC-template_Chatham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UNC-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UNC-template_Blank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UNC-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C-template</Template>
  <TotalTime>0</TotalTime>
  <Words>1559</Words>
  <Application>Microsoft Macintosh PowerPoint</Application>
  <PresentationFormat>Custom</PresentationFormat>
  <Paragraphs>197</Paragraphs>
  <Slides>20</Slides>
  <Notes>20</Notes>
  <HiddenSlides>0</HiddenSlides>
  <MMClips>19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Calibri</vt:lpstr>
      <vt:lpstr>Times New Roman</vt:lpstr>
      <vt:lpstr>UNC-template_Blank</vt:lpstr>
      <vt:lpstr>UNC-template_HCS</vt:lpstr>
      <vt:lpstr>UNC-template_P&amp;A</vt:lpstr>
      <vt:lpstr>UNC-template_UNCH</vt:lpstr>
      <vt:lpstr>UNC-template_Rex</vt:lpstr>
      <vt:lpstr>UNC-template_Chatham</vt:lpstr>
      <vt:lpstr>1_UNC-template_Blank</vt:lpstr>
      <vt:lpstr>think-cell Slide</vt:lpstr>
      <vt:lpstr>Developing, Sustaining, and Replicating a Role for Pharmacists in Rural Primary Care Practice</vt:lpstr>
      <vt:lpstr>Objectives</vt:lpstr>
      <vt:lpstr> Emily’s Background </vt:lpstr>
      <vt:lpstr> Bill’s Background </vt:lpstr>
      <vt:lpstr>Pharmacy Scope of Practice</vt:lpstr>
      <vt:lpstr>Clinical Pharmacist Practitioner</vt:lpstr>
      <vt:lpstr>Billing </vt:lpstr>
      <vt:lpstr>Medicare Annual Wellness Visits</vt:lpstr>
      <vt:lpstr>Annual Wellness Billing</vt:lpstr>
      <vt:lpstr>Co-Visits </vt:lpstr>
      <vt:lpstr>Co-Visit Benefits</vt:lpstr>
      <vt:lpstr>Utilizing PGY2 Residents to Build Pharmacy Services</vt:lpstr>
      <vt:lpstr>Transitions of Care</vt:lpstr>
      <vt:lpstr>E-Visits</vt:lpstr>
      <vt:lpstr> </vt:lpstr>
      <vt:lpstr> </vt:lpstr>
      <vt:lpstr>Outcome Tracking – Financial/Productivity</vt:lpstr>
      <vt:lpstr>Outcome Tracking - Clinical</vt:lpstr>
      <vt:lpstr>Take Home Points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, 24 pt, bold, Sentence Case Sub-Title, 18pt, bold, Sentence Case</dc:title>
  <dc:creator/>
  <dc:description>Letter Blank templ v3.pot</dc:description>
  <cp:lastModifiedBy/>
  <cp:revision>26</cp:revision>
  <dcterms:created xsi:type="dcterms:W3CDTF">2007-11-07T15:12:03Z</dcterms:created>
  <dcterms:modified xsi:type="dcterms:W3CDTF">2020-05-02T13:5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</Properties>
</file>